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3"/>
  </p:notesMasterIdLst>
  <p:handoutMasterIdLst>
    <p:handoutMasterId r:id="rId4"/>
  </p:handoutMasterIdLst>
  <p:sldIdLst>
    <p:sldId id="336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04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994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580287"/>
          </a:xfrm>
        </p:spPr>
        <p:txBody>
          <a:bodyPr/>
          <a:lstStyle>
            <a:lvl1pPr>
              <a:defRPr sz="377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1" y="2156103"/>
            <a:ext cx="6408737" cy="1450397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88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6" y="6559239"/>
            <a:ext cx="892873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848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914942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1" y="334801"/>
            <a:ext cx="7993063" cy="43537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325900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1" y="334801"/>
            <a:ext cx="7993063" cy="43537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116655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1" y="334801"/>
            <a:ext cx="7993063" cy="435376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3"/>
            <a:ext cx="7993064" cy="338554"/>
          </a:xfrm>
        </p:spPr>
        <p:txBody>
          <a:bodyPr>
            <a:noAutofit/>
          </a:bodyPr>
          <a:lstStyle>
            <a:lvl1pPr>
              <a:defRPr sz="2169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558822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2507780"/>
            <a:ext cx="7993063" cy="1160574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377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700" y="3856268"/>
            <a:ext cx="7993063" cy="29007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1885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484777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6" y="6559239"/>
            <a:ext cx="892873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848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1" y="2106614"/>
            <a:ext cx="5186365" cy="21624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754"/>
              </a:spcBef>
            </a:pP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754"/>
              </a:spcBef>
            </a:pP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848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754"/>
              </a:spcBef>
            </a:pP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848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1" y="4547459"/>
            <a:ext cx="5186365" cy="1451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754"/>
              </a:spcBef>
            </a:pPr>
            <a:r>
              <a:rPr lang="en-GB" sz="943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943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697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843465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Folie" r:id="rId11" imgW="399" imgH="399" progId="TCLayout.ActiveDocument.1">
                  <p:embed/>
                </p:oleObj>
              </mc:Choice>
              <mc:Fallback>
                <p:oleObj name="think-cell Folie" r:id="rId11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1"/>
            <a:ext cx="7994650" cy="43537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1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9719"/>
            <a:ext cx="899285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8620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48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848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8620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 June 2019</a:t>
            </a:fld>
            <a:endParaRPr lang="en-GB" sz="848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1" y="6479719"/>
            <a:ext cx="480901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848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848" smtClean="0">
                <a:solidFill>
                  <a:schemeClr val="bg2"/>
                </a:solidFill>
              </a:rPr>
              <a:pPr/>
              <a:t>‹#›</a:t>
            </a:fld>
            <a:endParaRPr lang="en-GB" sz="848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1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309" y="6497904"/>
            <a:ext cx="918759" cy="257596"/>
          </a:xfrm>
          <a:prstGeom prst="rect">
            <a:avLst/>
          </a:prstGeom>
        </p:spPr>
      </p:pic>
      <p:sp>
        <p:nvSpPr>
          <p:cNvPr id="4" name="MSIPCM6fcb48ab9593cfc7cabbcf05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730C2C1D-BE0E-467D-8DA9-AF8CA8C9F1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9"/>
    </p:custDataLst>
    <p:extLst>
      <p:ext uri="{BB962C8B-B14F-4D97-AF65-F5344CB8AC3E}">
        <p14:creationId xmlns:p14="http://schemas.microsoft.com/office/powerpoint/2010/main" val="2126675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</p:sldLayoutIdLst>
  <p:hf sldNum="0" hdr="0" dt="0"/>
  <p:txStyles>
    <p:titleStyle>
      <a:lvl1pPr algn="l" defTabSz="862049" rtl="0" eaLnBrk="1" latinLnBrk="0" hangingPunct="1">
        <a:spcBef>
          <a:spcPct val="0"/>
        </a:spcBef>
        <a:buNone/>
        <a:defRPr sz="2829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None/>
        <a:defRPr sz="1697" kern="1200">
          <a:solidFill>
            <a:schemeClr val="tx1"/>
          </a:solidFill>
          <a:latin typeface="+mn-lt"/>
          <a:ea typeface="+mn-ea"/>
          <a:cs typeface="+mn-cs"/>
        </a:defRPr>
      </a:lvl1pPr>
      <a:lvl2pPr marL="167621" indent="-167621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508" kern="1200">
          <a:solidFill>
            <a:schemeClr val="tx1"/>
          </a:solidFill>
          <a:latin typeface="+mn-lt"/>
          <a:ea typeface="+mn-ea"/>
          <a:cs typeface="+mn-cs"/>
        </a:defRPr>
      </a:lvl2pPr>
      <a:lvl3pPr marL="336738" indent="-169117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3pPr>
      <a:lvl4pPr marL="504359" indent="-167621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4pPr>
      <a:lvl5pPr marL="673475" indent="-169117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5pPr>
      <a:lvl6pPr marL="2370634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6pPr>
      <a:lvl7pPr marL="2801658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7pPr>
      <a:lvl8pPr marL="3232682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8pPr>
      <a:lvl9pPr marL="3663707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1pPr>
      <a:lvl2pPr marL="431024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2pPr>
      <a:lvl3pPr marL="862049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3pPr>
      <a:lvl4pPr marL="1293073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4pPr>
      <a:lvl5pPr marL="1724097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5pPr>
      <a:lvl6pPr marL="2155121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6pPr>
      <a:lvl7pPr marL="2586146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7pPr>
      <a:lvl8pPr marL="3017170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8pPr>
      <a:lvl9pPr marL="3448194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emf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51885" y="1685387"/>
            <a:ext cx="7997390" cy="403552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defTabSz="862049">
                <a:spcBef>
                  <a:spcPts val="283"/>
                </a:spcBef>
                <a:buClr>
                  <a:srgbClr val="FF6600"/>
                </a:buClr>
                <a:defRPr/>
              </a:pPr>
              <a:r>
                <a:rPr lang="pt-BR" sz="1400" b="1">
                  <a:solidFill>
                    <a:srgbClr val="FFFFFF"/>
                  </a:solidFill>
                  <a:latin typeface="Arial"/>
                  <a:ea typeface="MS PGothic" pitchFamily="34" charset="-128"/>
                </a:rPr>
                <a:t>VALOR E VANTAGEN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13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indent="-179593" defTabSz="862049" fontAlgn="base">
                <a:spcBef>
                  <a:spcPts val="283"/>
                </a:spcBef>
                <a:buClr>
                  <a:srgbClr val="E64B00"/>
                </a:buClr>
                <a:defRPr/>
              </a:pPr>
              <a:r>
                <a:rPr lang="pt-BR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ÇÃO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zh-CN" sz="1131" dirty="0">
                <a:solidFill>
                  <a:srgbClr val="000000"/>
                </a:solidFill>
                <a:latin typeface="Arial"/>
                <a:ea typeface="宋体" charset="-122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3040" y="197654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040" y="197654"/>
                        <a:ext cx="1496" cy="14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51885" y="258975"/>
            <a:ext cx="7997390" cy="984885"/>
          </a:xfrm>
        </p:spPr>
        <p:txBody>
          <a:bodyPr/>
          <a:lstStyle/>
          <a:p>
            <a:r>
              <a:rPr lang="pt-BR" sz="3200" dirty="0"/>
              <a:t>Menor indisponibilidade e maior produtividade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357633"/>
            <a:ext cx="7540309" cy="290358"/>
          </a:xfrm>
        </p:spPr>
        <p:txBody>
          <a:bodyPr/>
          <a:lstStyle/>
          <a:p>
            <a:r>
              <a:rPr lang="pt-BR" sz="1800" dirty="0"/>
              <a:t>Entrada com espaçamento eletrônico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51885" y="5803857"/>
            <a:ext cx="752234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pt-BR" sz="800" dirty="0"/>
              <a:t>Valor: Eficiência, manutenção</a:t>
            </a:r>
          </a:p>
          <a:p>
            <a:r>
              <a:rPr lang="pt-BR" sz="800" dirty="0"/>
              <a:t>Equipamento: </a:t>
            </a:r>
            <a:r>
              <a:rPr lang="pt-BR" sz="800" dirty="0" err="1"/>
              <a:t>Pal</a:t>
            </a:r>
            <a:r>
              <a:rPr lang="pt-BR" sz="800" dirty="0"/>
              <a:t>/</a:t>
            </a:r>
            <a:r>
              <a:rPr lang="pt-BR" sz="800" dirty="0" err="1"/>
              <a:t>Depal</a:t>
            </a:r>
            <a:endParaRPr lang="pt-BR" sz="800" dirty="0"/>
          </a:p>
          <a:p>
            <a:r>
              <a:rPr lang="pt-BR" sz="800" dirty="0"/>
              <a:t>Código do catálogo</a:t>
            </a:r>
            <a:r>
              <a:rPr lang="pt-BR" sz="800"/>
              <a:t>: EOL024</a:t>
            </a:r>
            <a:endParaRPr lang="pt-BR" sz="800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273516" y="208130"/>
            <a:ext cx="65" cy="1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62049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defRPr/>
            </a:pPr>
            <a:endParaRPr lang="en-US" altLang="fr-FR" sz="1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1885" y="2073869"/>
            <a:ext cx="3892254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150" dirty="0"/>
              <a:t>Manutenção simplificada. Sem manutenção de rolos e substituição mais rápida de peças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150" dirty="0"/>
              <a:t>Melhora a estabilidade dos pacotes e os manuseia com mais suavidade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150" dirty="0"/>
              <a:t>Configuração com motores sem escovas proporciona máxima flexibilidade e espaçamento eletrônico de pacotes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150" dirty="0"/>
              <a:t>Otimize a velocidade do equipamento e reduza paradas da máquina devido a possíveis falhas de formação nas camadas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7021" y="2087143"/>
            <a:ext cx="3892254" cy="1685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150" dirty="0"/>
              <a:t>Rotação e formação de pacotes em linha com correia de plástico de baixa fricção e princípios de espaçamento eletrônico (eliminação de espaçadores de pacotes, melhoria do controle dos pacotes e otimização da velocidade)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150" dirty="0"/>
              <a:t>Configuração com motores sem escovas proporciona máxima flexibilidade e espaçamento eletrônico de pacotes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150" dirty="0"/>
              <a:t>Disponível em todas as paletizadoras IBP Kombi </a:t>
            </a: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4642134E-1F0F-4AD6-A08F-5F15C5160E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4666" y="3898479"/>
            <a:ext cx="2461738" cy="1741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3">
            <a:extLst>
              <a:ext uri="{FF2B5EF4-FFF2-40B4-BE49-F238E27FC236}">
                <a16:creationId xmlns:a16="http://schemas.microsoft.com/office/drawing/2014/main" id="{4AD35BC2-0824-4557-A147-2066B65BBB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8966" y="3870959"/>
            <a:ext cx="2502577" cy="17677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162775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GeboCermex_Template_4x3_v10_FINAL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GeboCermex_Template_4x3_v10_FINAL.potx" id="{40843EB2-E077-49DA-961C-E3E6AA04AB3C}" vid="{D02E4197-38B6-451C-BC78-F167F6199CD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4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1_NewGeboCermex_Template_4x3_v10_FINAL</vt:lpstr>
      <vt:lpstr>think-cell Folie</vt:lpstr>
      <vt:lpstr>Menor indisponibilidade e maior produtividad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28</cp:revision>
  <cp:lastPrinted>2017-09-01T14:01:41Z</cp:lastPrinted>
  <dcterms:created xsi:type="dcterms:W3CDTF">2017-07-10T14:51:51Z</dcterms:created>
  <dcterms:modified xsi:type="dcterms:W3CDTF">2019-06-26T14:49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6:49:02.2461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